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1" r:id="rId3"/>
    <p:sldId id="257" r:id="rId4"/>
    <p:sldId id="258" r:id="rId5"/>
    <p:sldId id="262" r:id="rId6"/>
    <p:sldId id="259" r:id="rId7"/>
    <p:sldId id="260" r:id="rId8"/>
  </p:sldIdLst>
  <p:sldSz cx="12192000" cy="6858000"/>
  <p:notesSz cx="9926638" cy="14352588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28" autoAdjust="0"/>
    <p:restoredTop sz="96374" autoAdjust="0"/>
  </p:normalViewPr>
  <p:slideViewPr>
    <p:cSldViewPr snapToGrid="0">
      <p:cViewPr varScale="1">
        <p:scale>
          <a:sx n="105" d="100"/>
          <a:sy n="105" d="100"/>
        </p:scale>
        <p:origin x="138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2</a:t>
          </a:r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4C58B69-2C65-44E0-AEF9-AAC3C28C580C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1 (Tag)</a:t>
          </a:r>
        </a:p>
      </dgm:t>
    </dgm:pt>
    <dgm:pt modelId="{1DD67FF6-CC55-4514-9689-506446CDB28A}" type="parTrans" cxnId="{DE19CB83-15DD-4B8C-9D55-1E908984917E}">
      <dgm:prSet/>
      <dgm:spPr/>
      <dgm:t>
        <a:bodyPr/>
        <a:lstStyle/>
        <a:p>
          <a:endParaRPr lang="de-DE"/>
        </a:p>
      </dgm:t>
    </dgm:pt>
    <dgm:pt modelId="{C3C50D9F-50D2-4C29-BD02-A082816A564D}" type="sibTrans" cxnId="{DE19CB83-15DD-4B8C-9D55-1E908984917E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9338D69B-B454-4AB2-B571-0C577C7E583D}" type="pres">
      <dgm:prSet presAssocID="{CE02CFE8-CA39-402B-B426-A91228F54F1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96232817-BA82-4387-8EDF-328ABD924933}" type="pres">
      <dgm:prSet presAssocID="{56483AF1-C635-4A4B-A2C5-D80E534BADC5}" presName="hierRoot1" presStyleCnt="0">
        <dgm:presLayoutVars>
          <dgm:hierBranch/>
        </dgm:presLayoutVars>
      </dgm:prSet>
      <dgm:spPr/>
    </dgm:pt>
    <dgm:pt modelId="{E8C4BD90-AE6E-43B5-9B99-722F501E6B41}" type="pres">
      <dgm:prSet presAssocID="{56483AF1-C635-4A4B-A2C5-D80E534BADC5}" presName="rootComposite1" presStyleCnt="0"/>
      <dgm:spPr/>
    </dgm:pt>
    <dgm:pt modelId="{38C73456-D67D-4C4E-8D72-EC034ED8F7F8}" type="pres">
      <dgm:prSet presAssocID="{56483AF1-C635-4A4B-A2C5-D80E534BADC5}" presName="rootText1" presStyleLbl="node0" presStyleIdx="0" presStyleCnt="1">
        <dgm:presLayoutVars>
          <dgm:chPref val="3"/>
        </dgm:presLayoutVars>
      </dgm:prSet>
      <dgm:spPr/>
    </dgm:pt>
    <dgm:pt modelId="{E44CA738-D2DA-44E9-BBF8-A8D200560342}" type="pres">
      <dgm:prSet presAssocID="{56483AF1-C635-4A4B-A2C5-D80E534BADC5}" presName="rootConnector1" presStyleLbl="node1" presStyleIdx="0" presStyleCnt="0"/>
      <dgm:spPr/>
    </dgm:pt>
    <dgm:pt modelId="{DB2BB38A-DC36-4E9C-B0A3-10EBC794467E}" type="pres">
      <dgm:prSet presAssocID="{56483AF1-C635-4A4B-A2C5-D80E534BADC5}" presName="hierChild2" presStyleCnt="0"/>
      <dgm:spPr/>
    </dgm:pt>
    <dgm:pt modelId="{30120DA4-BBF0-4F1F-B7A9-5488743B14C3}" type="pres">
      <dgm:prSet presAssocID="{5A42597E-7C44-431A-9CA8-9E2FBD09D033}" presName="Name35" presStyleLbl="parChTrans1D2" presStyleIdx="0" presStyleCnt="2"/>
      <dgm:spPr/>
    </dgm:pt>
    <dgm:pt modelId="{C23A813E-87C5-4521-A76C-1676E1CA6E7B}" type="pres">
      <dgm:prSet presAssocID="{D72453B6-1B40-48C3-A2D3-C6000198E162}" presName="hierRoot2" presStyleCnt="0">
        <dgm:presLayoutVars>
          <dgm:hierBranch/>
        </dgm:presLayoutVars>
      </dgm:prSet>
      <dgm:spPr/>
    </dgm:pt>
    <dgm:pt modelId="{5F2C5D98-9956-4070-B99E-74D8AC173B33}" type="pres">
      <dgm:prSet presAssocID="{D72453B6-1B40-48C3-A2D3-C6000198E162}" presName="rootComposite" presStyleCnt="0"/>
      <dgm:spPr/>
    </dgm:pt>
    <dgm:pt modelId="{D4FD80F1-0115-4C60-A916-AD38FC20BF74}" type="pres">
      <dgm:prSet presAssocID="{D72453B6-1B40-48C3-A2D3-C6000198E162}" presName="rootText" presStyleLbl="node2" presStyleIdx="0" presStyleCnt="2">
        <dgm:presLayoutVars>
          <dgm:chPref val="3"/>
        </dgm:presLayoutVars>
      </dgm:prSet>
      <dgm:spPr/>
    </dgm:pt>
    <dgm:pt modelId="{A5A34036-CBBB-4C31-800A-9B44D09CD057}" type="pres">
      <dgm:prSet presAssocID="{D72453B6-1B40-48C3-A2D3-C6000198E162}" presName="rootConnector" presStyleLbl="node2" presStyleIdx="0" presStyleCnt="2"/>
      <dgm:spPr/>
    </dgm:pt>
    <dgm:pt modelId="{E8D8F15E-D91F-4D78-A396-93A9E7112FD7}" type="pres">
      <dgm:prSet presAssocID="{D72453B6-1B40-48C3-A2D3-C6000198E162}" presName="hierChild4" presStyleCnt="0"/>
      <dgm:spPr/>
    </dgm:pt>
    <dgm:pt modelId="{B40EF80D-37EF-4200-97CC-58C29E405FC0}" type="pres">
      <dgm:prSet presAssocID="{D72453B6-1B40-48C3-A2D3-C6000198E162}" presName="hierChild5" presStyleCnt="0"/>
      <dgm:spPr/>
    </dgm:pt>
    <dgm:pt modelId="{9540B85E-A4EF-41D4-8E0E-3151A162E97D}" type="pres">
      <dgm:prSet presAssocID="{73B85369-6C0F-401B-95E3-5EE852952C3D}" presName="Name35" presStyleLbl="parChTrans1D2" presStyleIdx="1" presStyleCnt="2"/>
      <dgm:spPr/>
    </dgm:pt>
    <dgm:pt modelId="{67A842CE-E9BF-4E4C-8D98-644579DBE50F}" type="pres">
      <dgm:prSet presAssocID="{63A93EE4-34D3-4D82-836B-6E5AA8FED95F}" presName="hierRoot2" presStyleCnt="0">
        <dgm:presLayoutVars>
          <dgm:hierBranch/>
        </dgm:presLayoutVars>
      </dgm:prSet>
      <dgm:spPr/>
    </dgm:pt>
    <dgm:pt modelId="{405272A9-7980-4A84-864F-7691585742A3}" type="pres">
      <dgm:prSet presAssocID="{63A93EE4-34D3-4D82-836B-6E5AA8FED95F}" presName="rootComposite" presStyleCnt="0"/>
      <dgm:spPr/>
    </dgm:pt>
    <dgm:pt modelId="{23B824FD-3512-4FF6-8321-6B2E024B3CB3}" type="pres">
      <dgm:prSet presAssocID="{63A93EE4-34D3-4D82-836B-6E5AA8FED95F}" presName="rootText" presStyleLbl="node2" presStyleIdx="1" presStyleCnt="2">
        <dgm:presLayoutVars>
          <dgm:chPref val="3"/>
        </dgm:presLayoutVars>
      </dgm:prSet>
      <dgm:spPr/>
    </dgm:pt>
    <dgm:pt modelId="{9D04C6CD-FBB2-40C2-9765-F8A46CE34353}" type="pres">
      <dgm:prSet presAssocID="{63A93EE4-34D3-4D82-836B-6E5AA8FED95F}" presName="rootConnector" presStyleLbl="node2" presStyleIdx="1" presStyleCnt="2"/>
      <dgm:spPr/>
    </dgm:pt>
    <dgm:pt modelId="{4A4ED6DF-2B07-4536-A315-A90161EFC4CC}" type="pres">
      <dgm:prSet presAssocID="{63A93EE4-34D3-4D82-836B-6E5AA8FED95F}" presName="hierChild4" presStyleCnt="0"/>
      <dgm:spPr/>
    </dgm:pt>
    <dgm:pt modelId="{0B253D4B-281F-45B6-B5E4-C0071B81BAC8}" type="pres">
      <dgm:prSet presAssocID="{1DD67FF6-CC55-4514-9689-506446CDB28A}" presName="Name35" presStyleLbl="parChTrans1D3" presStyleIdx="0" presStyleCnt="2"/>
      <dgm:spPr/>
    </dgm:pt>
    <dgm:pt modelId="{F342ECFC-FF85-4A11-915D-F52E2B3F8F88}" type="pres">
      <dgm:prSet presAssocID="{84C58B69-2C65-44E0-AEF9-AAC3C28C580C}" presName="hierRoot2" presStyleCnt="0">
        <dgm:presLayoutVars>
          <dgm:hierBranch/>
        </dgm:presLayoutVars>
      </dgm:prSet>
      <dgm:spPr/>
    </dgm:pt>
    <dgm:pt modelId="{4D8C46B8-E584-4523-AFCC-C039E7744B51}" type="pres">
      <dgm:prSet presAssocID="{84C58B69-2C65-44E0-AEF9-AAC3C28C580C}" presName="rootComposite" presStyleCnt="0"/>
      <dgm:spPr/>
    </dgm:pt>
    <dgm:pt modelId="{E2FF1EBB-5738-4C02-B319-CEFB56BD75EF}" type="pres">
      <dgm:prSet presAssocID="{84C58B69-2C65-44E0-AEF9-AAC3C28C580C}" presName="rootText" presStyleLbl="node3" presStyleIdx="0" presStyleCnt="2">
        <dgm:presLayoutVars>
          <dgm:chPref val="3"/>
        </dgm:presLayoutVars>
      </dgm:prSet>
      <dgm:spPr/>
    </dgm:pt>
    <dgm:pt modelId="{F21DA46F-9176-46C2-8606-0459787EBF36}" type="pres">
      <dgm:prSet presAssocID="{84C58B69-2C65-44E0-AEF9-AAC3C28C580C}" presName="rootConnector" presStyleLbl="node3" presStyleIdx="0" presStyleCnt="2"/>
      <dgm:spPr/>
    </dgm:pt>
    <dgm:pt modelId="{CED9D8F5-2002-4B51-A9BE-71B25E415299}" type="pres">
      <dgm:prSet presAssocID="{84C58B69-2C65-44E0-AEF9-AAC3C28C580C}" presName="hierChild4" presStyleCnt="0"/>
      <dgm:spPr/>
    </dgm:pt>
    <dgm:pt modelId="{D355210C-CDB2-4FD0-84B6-3C9A26401FAF}" type="pres">
      <dgm:prSet presAssocID="{84C58B69-2C65-44E0-AEF9-AAC3C28C580C}" presName="hierChild5" presStyleCnt="0"/>
      <dgm:spPr/>
    </dgm:pt>
    <dgm:pt modelId="{3F6785EA-6670-487A-8E8C-4D713762CAC8}" type="pres">
      <dgm:prSet presAssocID="{36567181-7F90-4B9E-BE6F-7B941203BDDE}" presName="Name35" presStyleLbl="parChTrans1D3" presStyleIdx="1" presStyleCnt="2"/>
      <dgm:spPr/>
    </dgm:pt>
    <dgm:pt modelId="{751017CF-68E2-4A7E-B4F6-8DB1091C1CB0}" type="pres">
      <dgm:prSet presAssocID="{809044A5-1B37-4FA2-9465-C6F903AED917}" presName="hierRoot2" presStyleCnt="0">
        <dgm:presLayoutVars>
          <dgm:hierBranch/>
        </dgm:presLayoutVars>
      </dgm:prSet>
      <dgm:spPr/>
    </dgm:pt>
    <dgm:pt modelId="{8DE0D729-79D8-487D-8B6F-8FC576A50DA4}" type="pres">
      <dgm:prSet presAssocID="{809044A5-1B37-4FA2-9465-C6F903AED917}" presName="rootComposite" presStyleCnt="0"/>
      <dgm:spPr/>
    </dgm:pt>
    <dgm:pt modelId="{5F907C20-201E-4433-A68D-28B8EE613CE7}" type="pres">
      <dgm:prSet presAssocID="{809044A5-1B37-4FA2-9465-C6F903AED917}" presName="rootText" presStyleLbl="node3" presStyleIdx="1" presStyleCnt="2">
        <dgm:presLayoutVars>
          <dgm:chPref val="3"/>
        </dgm:presLayoutVars>
      </dgm:prSet>
      <dgm:spPr/>
    </dgm:pt>
    <dgm:pt modelId="{377BDF44-513B-4A5F-AC2A-15E57B35F145}" type="pres">
      <dgm:prSet presAssocID="{809044A5-1B37-4FA2-9465-C6F903AED917}" presName="rootConnector" presStyleLbl="node3" presStyleIdx="1" presStyleCnt="2"/>
      <dgm:spPr/>
    </dgm:pt>
    <dgm:pt modelId="{CB13EC3E-67DF-4F14-95DB-7BB6D11DDB4C}" type="pres">
      <dgm:prSet presAssocID="{809044A5-1B37-4FA2-9465-C6F903AED917}" presName="hierChild4" presStyleCnt="0"/>
      <dgm:spPr/>
    </dgm:pt>
    <dgm:pt modelId="{3212303E-2E2A-48D1-963F-A947659BDF3C}" type="pres">
      <dgm:prSet presAssocID="{89D72D49-719C-4938-BA25-54D992A69F2F}" presName="Name35" presStyleLbl="parChTrans1D4" presStyleIdx="0" presStyleCnt="4"/>
      <dgm:spPr/>
    </dgm:pt>
    <dgm:pt modelId="{3EECD5C7-51BD-4CA7-8F1D-56B1DD80D382}" type="pres">
      <dgm:prSet presAssocID="{8CE0378C-5BFC-4F18-901E-A6F28F08A7B7}" presName="hierRoot2" presStyleCnt="0">
        <dgm:presLayoutVars>
          <dgm:hierBranch/>
        </dgm:presLayoutVars>
      </dgm:prSet>
      <dgm:spPr/>
    </dgm:pt>
    <dgm:pt modelId="{F37F0636-3BC6-4339-8D4C-8E2D146D219B}" type="pres">
      <dgm:prSet presAssocID="{8CE0378C-5BFC-4F18-901E-A6F28F08A7B7}" presName="rootComposite" presStyleCnt="0"/>
      <dgm:spPr/>
    </dgm:pt>
    <dgm:pt modelId="{4B15C515-2A82-449C-B2D0-D5D12BE85F52}" type="pres">
      <dgm:prSet presAssocID="{8CE0378C-5BFC-4F18-901E-A6F28F08A7B7}" presName="rootText" presStyleLbl="node4" presStyleIdx="0" presStyleCnt="4">
        <dgm:presLayoutVars>
          <dgm:chPref val="3"/>
        </dgm:presLayoutVars>
      </dgm:prSet>
      <dgm:spPr/>
    </dgm:pt>
    <dgm:pt modelId="{A2A39198-F021-4D5B-A5B7-7ACA2A5A936A}" type="pres">
      <dgm:prSet presAssocID="{8CE0378C-5BFC-4F18-901E-A6F28F08A7B7}" presName="rootConnector" presStyleLbl="node4" presStyleIdx="0" presStyleCnt="4"/>
      <dgm:spPr/>
    </dgm:pt>
    <dgm:pt modelId="{99407F54-1F74-465D-86D6-C31085C71AD1}" type="pres">
      <dgm:prSet presAssocID="{8CE0378C-5BFC-4F18-901E-A6F28F08A7B7}" presName="hierChild4" presStyleCnt="0"/>
      <dgm:spPr/>
    </dgm:pt>
    <dgm:pt modelId="{3B4B583A-5F37-446A-8A00-6BE699130C30}" type="pres">
      <dgm:prSet presAssocID="{8CE0378C-5BFC-4F18-901E-A6F28F08A7B7}" presName="hierChild5" presStyleCnt="0"/>
      <dgm:spPr/>
    </dgm:pt>
    <dgm:pt modelId="{3DD5C3D7-8417-47C3-9FCC-F2024B0F023C}" type="pres">
      <dgm:prSet presAssocID="{4E3A8912-5672-4AFC-99D2-1CD4BC3C55B7}" presName="Name35" presStyleLbl="parChTrans1D4" presStyleIdx="1" presStyleCnt="4"/>
      <dgm:spPr/>
    </dgm:pt>
    <dgm:pt modelId="{0CC2EDF8-23F1-453E-9FB3-95E48ECDF36E}" type="pres">
      <dgm:prSet presAssocID="{F9E1A341-00B1-48B5-8E7E-21C4DA617546}" presName="hierRoot2" presStyleCnt="0">
        <dgm:presLayoutVars>
          <dgm:hierBranch/>
        </dgm:presLayoutVars>
      </dgm:prSet>
      <dgm:spPr/>
    </dgm:pt>
    <dgm:pt modelId="{4FDB9CBF-7605-47B0-BB81-FA8AA0EA216F}" type="pres">
      <dgm:prSet presAssocID="{F9E1A341-00B1-48B5-8E7E-21C4DA617546}" presName="rootComposite" presStyleCnt="0"/>
      <dgm:spPr/>
    </dgm:pt>
    <dgm:pt modelId="{54990C5F-01B5-4079-99FE-B730F47A1E10}" type="pres">
      <dgm:prSet presAssocID="{F9E1A341-00B1-48B5-8E7E-21C4DA617546}" presName="rootText" presStyleLbl="node4" presStyleIdx="1" presStyleCnt="4">
        <dgm:presLayoutVars>
          <dgm:chPref val="3"/>
        </dgm:presLayoutVars>
      </dgm:prSet>
      <dgm:spPr/>
    </dgm:pt>
    <dgm:pt modelId="{33B3AF54-0B0E-439D-8369-90582CC497EB}" type="pres">
      <dgm:prSet presAssocID="{F9E1A341-00B1-48B5-8E7E-21C4DA617546}" presName="rootConnector" presStyleLbl="node4" presStyleIdx="1" presStyleCnt="4"/>
      <dgm:spPr/>
    </dgm:pt>
    <dgm:pt modelId="{9EA63A90-7BC8-4FA3-9ACC-BBFFDC3460E0}" type="pres">
      <dgm:prSet presAssocID="{F9E1A341-00B1-48B5-8E7E-21C4DA617546}" presName="hierChild4" presStyleCnt="0"/>
      <dgm:spPr/>
    </dgm:pt>
    <dgm:pt modelId="{75558B12-3DD9-426D-96B6-E97E524322EC}" type="pres">
      <dgm:prSet presAssocID="{915143CF-6875-4889-A996-41FB2FBF8B05}" presName="Name35" presStyleLbl="parChTrans1D4" presStyleIdx="2" presStyleCnt="4"/>
      <dgm:spPr/>
    </dgm:pt>
    <dgm:pt modelId="{35C857AB-A01D-408A-98E1-8701D3BAF9B5}" type="pres">
      <dgm:prSet presAssocID="{AD4CA1C2-AA35-4EA0-813C-8A9E26596336}" presName="hierRoot2" presStyleCnt="0">
        <dgm:presLayoutVars>
          <dgm:hierBranch/>
        </dgm:presLayoutVars>
      </dgm:prSet>
      <dgm:spPr/>
    </dgm:pt>
    <dgm:pt modelId="{823FD1CA-F04B-488E-A2C6-DCB5B025DC72}" type="pres">
      <dgm:prSet presAssocID="{AD4CA1C2-AA35-4EA0-813C-8A9E26596336}" presName="rootComposite" presStyleCnt="0"/>
      <dgm:spPr/>
    </dgm:pt>
    <dgm:pt modelId="{AC870754-F1E5-401B-86E5-52B2054C0277}" type="pres">
      <dgm:prSet presAssocID="{AD4CA1C2-AA35-4EA0-813C-8A9E26596336}" presName="rootText" presStyleLbl="node4" presStyleIdx="2" presStyleCnt="4">
        <dgm:presLayoutVars>
          <dgm:chPref val="3"/>
        </dgm:presLayoutVars>
      </dgm:prSet>
      <dgm:spPr/>
    </dgm:pt>
    <dgm:pt modelId="{C7FF83CA-C8C6-4B0E-B265-109385123C36}" type="pres">
      <dgm:prSet presAssocID="{AD4CA1C2-AA35-4EA0-813C-8A9E26596336}" presName="rootConnector" presStyleLbl="node4" presStyleIdx="2" presStyleCnt="4"/>
      <dgm:spPr/>
    </dgm:pt>
    <dgm:pt modelId="{C6098DC8-1751-4F4D-91B3-E392A6393CE6}" type="pres">
      <dgm:prSet presAssocID="{AD4CA1C2-AA35-4EA0-813C-8A9E26596336}" presName="hierChild4" presStyleCnt="0"/>
      <dgm:spPr/>
    </dgm:pt>
    <dgm:pt modelId="{64CBDE73-73B5-4C2E-AD08-CEFD2B7B589E}" type="pres">
      <dgm:prSet presAssocID="{AD4CA1C2-AA35-4EA0-813C-8A9E26596336}" presName="hierChild5" presStyleCnt="0"/>
      <dgm:spPr/>
    </dgm:pt>
    <dgm:pt modelId="{27A3536D-4E08-40A9-88FB-3846CAC90B4C}" type="pres">
      <dgm:prSet presAssocID="{F926763A-9361-4F50-A257-16C2B4C2A5EF}" presName="Name35" presStyleLbl="parChTrans1D4" presStyleIdx="3" presStyleCnt="4"/>
      <dgm:spPr/>
    </dgm:pt>
    <dgm:pt modelId="{F200A130-36B5-4AAE-ABAD-B7752178202C}" type="pres">
      <dgm:prSet presAssocID="{2A4A8B3B-C540-409D-AD83-DE0DB893B79E}" presName="hierRoot2" presStyleCnt="0">
        <dgm:presLayoutVars>
          <dgm:hierBranch/>
        </dgm:presLayoutVars>
      </dgm:prSet>
      <dgm:spPr/>
    </dgm:pt>
    <dgm:pt modelId="{7BDD4ABD-A3F9-410E-BA5C-ED5C26A45A5E}" type="pres">
      <dgm:prSet presAssocID="{2A4A8B3B-C540-409D-AD83-DE0DB893B79E}" presName="rootComposite" presStyleCnt="0"/>
      <dgm:spPr/>
    </dgm:pt>
    <dgm:pt modelId="{FA989B88-97A2-408D-A6E8-F03B512CDF30}" type="pres">
      <dgm:prSet presAssocID="{2A4A8B3B-C540-409D-AD83-DE0DB893B79E}" presName="rootText" presStyleLbl="node4" presStyleIdx="3" presStyleCnt="4">
        <dgm:presLayoutVars>
          <dgm:chPref val="3"/>
        </dgm:presLayoutVars>
      </dgm:prSet>
      <dgm:spPr/>
    </dgm:pt>
    <dgm:pt modelId="{9F3F8E88-5225-4181-8A82-50FD57D97466}" type="pres">
      <dgm:prSet presAssocID="{2A4A8B3B-C540-409D-AD83-DE0DB893B79E}" presName="rootConnector" presStyleLbl="node4" presStyleIdx="3" presStyleCnt="4"/>
      <dgm:spPr/>
    </dgm:pt>
    <dgm:pt modelId="{F0E86744-3E33-426C-811D-712372C56BF5}" type="pres">
      <dgm:prSet presAssocID="{2A4A8B3B-C540-409D-AD83-DE0DB893B79E}" presName="hierChild4" presStyleCnt="0"/>
      <dgm:spPr/>
    </dgm:pt>
    <dgm:pt modelId="{FFB24B82-4F7E-45EA-A925-B36AB76AA948}" type="pres">
      <dgm:prSet presAssocID="{2A4A8B3B-C540-409D-AD83-DE0DB893B79E}" presName="hierChild5" presStyleCnt="0"/>
      <dgm:spPr/>
    </dgm:pt>
    <dgm:pt modelId="{BCC1D76F-115C-4D3B-8EEB-E4328ECA8B5B}" type="pres">
      <dgm:prSet presAssocID="{F9E1A341-00B1-48B5-8E7E-21C4DA617546}" presName="hierChild5" presStyleCnt="0"/>
      <dgm:spPr/>
    </dgm:pt>
    <dgm:pt modelId="{58152210-F89F-49E9-A7DA-3AC0FE287B85}" type="pres">
      <dgm:prSet presAssocID="{809044A5-1B37-4FA2-9465-C6F903AED917}" presName="hierChild5" presStyleCnt="0"/>
      <dgm:spPr/>
    </dgm:pt>
    <dgm:pt modelId="{CCCE7CA3-B370-4D07-B480-A6CAED339B69}" type="pres">
      <dgm:prSet presAssocID="{63A93EE4-34D3-4D82-836B-6E5AA8FED95F}" presName="hierChild5" presStyleCnt="0"/>
      <dgm:spPr/>
    </dgm:pt>
    <dgm:pt modelId="{D93DE94D-AADC-4710-8AF0-8F906581DBFA}" type="pres">
      <dgm:prSet presAssocID="{56483AF1-C635-4A4B-A2C5-D80E534BADC5}" presName="hierChild3" presStyleCnt="0"/>
      <dgm:spPr/>
    </dgm:pt>
  </dgm:ptLst>
  <dgm:cxnLst>
    <dgm:cxn modelId="{54166D05-D60D-4AC3-B287-DB8FEB6B0B6A}" type="presOf" srcId="{AD4CA1C2-AA35-4EA0-813C-8A9E26596336}" destId="{C7FF83CA-C8C6-4B0E-B265-109385123C36}" srcOrd="1" destOrd="0" presId="urn:microsoft.com/office/officeart/2005/8/layout/orgChart1"/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B9D8D60A-B4F5-4959-8876-CA6026DADB00}" type="presOf" srcId="{2A4A8B3B-C540-409D-AD83-DE0DB893B79E}" destId="{FA989B88-97A2-408D-A6E8-F03B512CDF30}" srcOrd="0" destOrd="0" presId="urn:microsoft.com/office/officeart/2005/8/layout/orgChart1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E1106816-1B6F-42FD-AC8D-5F7A7CB8C92B}" type="presOf" srcId="{63A93EE4-34D3-4D82-836B-6E5AA8FED95F}" destId="{9D04C6CD-FBB2-40C2-9765-F8A46CE34353}" srcOrd="1" destOrd="0" presId="urn:microsoft.com/office/officeart/2005/8/layout/orgChart1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19874A27-A01F-4B4B-9F81-2CC5EAD94DAE}" type="presOf" srcId="{2A4A8B3B-C540-409D-AD83-DE0DB893B79E}" destId="{9F3F8E88-5225-4181-8A82-50FD57D97466}" srcOrd="1" destOrd="0" presId="urn:microsoft.com/office/officeart/2005/8/layout/orgChart1"/>
    <dgm:cxn modelId="{3C64A729-8146-4969-9C0C-A3A8D9FBE735}" type="presOf" srcId="{F926763A-9361-4F50-A257-16C2B4C2A5EF}" destId="{27A3536D-4E08-40A9-88FB-3846CAC90B4C}" srcOrd="0" destOrd="0" presId="urn:microsoft.com/office/officeart/2005/8/layout/orgChart1"/>
    <dgm:cxn modelId="{AE4E672D-EC7A-4C3E-BEDF-6F13CB1DC385}" type="presOf" srcId="{CE02CFE8-CA39-402B-B426-A91228F54F1C}" destId="{9338D69B-B454-4AB2-B571-0C577C7E583D}" srcOrd="0" destOrd="0" presId="urn:microsoft.com/office/officeart/2005/8/layout/orgChart1"/>
    <dgm:cxn modelId="{F072393E-5A9C-4FE4-9EB0-9385769CCB97}" type="presOf" srcId="{1DD67FF6-CC55-4514-9689-506446CDB28A}" destId="{0B253D4B-281F-45B6-B5E4-C0071B81BAC8}" srcOrd="0" destOrd="0" presId="urn:microsoft.com/office/officeart/2005/8/layout/orgChart1"/>
    <dgm:cxn modelId="{5DDECA62-3FE0-4C55-872E-F9FB8EA16E98}" type="presOf" srcId="{36567181-7F90-4B9E-BE6F-7B941203BDDE}" destId="{3F6785EA-6670-487A-8E8C-4D713762CAC8}" srcOrd="0" destOrd="0" presId="urn:microsoft.com/office/officeart/2005/8/layout/orgChart1"/>
    <dgm:cxn modelId="{B3864C63-9802-48CE-884E-0118879104CE}" type="presOf" srcId="{63A93EE4-34D3-4D82-836B-6E5AA8FED95F}" destId="{23B824FD-3512-4FF6-8321-6B2E024B3CB3}" srcOrd="0" destOrd="0" presId="urn:microsoft.com/office/officeart/2005/8/layout/orgChart1"/>
    <dgm:cxn modelId="{77BA9064-AC71-450E-A684-385182BE66F5}" type="presOf" srcId="{56483AF1-C635-4A4B-A2C5-D80E534BADC5}" destId="{38C73456-D67D-4C4E-8D72-EC034ED8F7F8}" srcOrd="0" destOrd="0" presId="urn:microsoft.com/office/officeart/2005/8/layout/orgChart1"/>
    <dgm:cxn modelId="{00A2BF49-9F9C-4174-9E03-A75EAD252704}" type="presOf" srcId="{AD4CA1C2-AA35-4EA0-813C-8A9E26596336}" destId="{AC870754-F1E5-401B-86E5-52B2054C0277}" srcOrd="0" destOrd="0" presId="urn:microsoft.com/office/officeart/2005/8/layout/orgChart1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C69F4B4E-EC84-411E-A74F-0B28853FC0E8}" type="presOf" srcId="{F9E1A341-00B1-48B5-8E7E-21C4DA617546}" destId="{54990C5F-01B5-4079-99FE-B730F47A1E10}" srcOrd="0" destOrd="0" presId="urn:microsoft.com/office/officeart/2005/8/layout/orgChart1"/>
    <dgm:cxn modelId="{26D93673-F4F7-419A-9EC5-DFB1CEB7FAC0}" type="presOf" srcId="{56483AF1-C635-4A4B-A2C5-D80E534BADC5}" destId="{E44CA738-D2DA-44E9-BBF8-A8D200560342}" srcOrd="1" destOrd="0" presId="urn:microsoft.com/office/officeart/2005/8/layout/orgChart1"/>
    <dgm:cxn modelId="{4E4E0A54-E618-4E09-A4F5-CFB07735AB71}" type="presOf" srcId="{D72453B6-1B40-48C3-A2D3-C6000198E162}" destId="{D4FD80F1-0115-4C60-A916-AD38FC20BF74}" srcOrd="0" destOrd="0" presId="urn:microsoft.com/office/officeart/2005/8/layout/orgChart1"/>
    <dgm:cxn modelId="{B1B47A78-A37B-46A5-ACF7-C557A7B0C45E}" type="presOf" srcId="{D72453B6-1B40-48C3-A2D3-C6000198E162}" destId="{A5A34036-CBBB-4C31-800A-9B44D09CD057}" srcOrd="1" destOrd="0" presId="urn:microsoft.com/office/officeart/2005/8/layout/orgChart1"/>
    <dgm:cxn modelId="{7BC88A7B-5EC6-4099-BC58-BB03C48E1C24}" type="presOf" srcId="{89D72D49-719C-4938-BA25-54D992A69F2F}" destId="{3212303E-2E2A-48D1-963F-A947659BDF3C}" srcOrd="0" destOrd="0" presId="urn:microsoft.com/office/officeart/2005/8/layout/orgChart1"/>
    <dgm:cxn modelId="{DE19CB83-15DD-4B8C-9D55-1E908984917E}" srcId="{63A93EE4-34D3-4D82-836B-6E5AA8FED95F}" destId="{84C58B69-2C65-44E0-AEF9-AAC3C28C580C}" srcOrd="0" destOrd="0" parTransId="{1DD67FF6-CC55-4514-9689-506446CDB28A}" sibTransId="{C3C50D9F-50D2-4C29-BD02-A082816A564D}"/>
    <dgm:cxn modelId="{DBE8FF83-E556-4D3E-B3A1-48290264D456}" type="presOf" srcId="{73B85369-6C0F-401B-95E3-5EE852952C3D}" destId="{9540B85E-A4EF-41D4-8E0E-3151A162E97D}" srcOrd="0" destOrd="0" presId="urn:microsoft.com/office/officeart/2005/8/layout/orgChart1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579A2F8F-2688-4BE4-85C0-5E18E95F1E77}" type="presOf" srcId="{4E3A8912-5672-4AFC-99D2-1CD4BC3C55B7}" destId="{3DD5C3D7-8417-47C3-9FCC-F2024B0F023C}" srcOrd="0" destOrd="0" presId="urn:microsoft.com/office/officeart/2005/8/layout/orgChart1"/>
    <dgm:cxn modelId="{8AD8B494-F736-4DE0-AE81-6C4D14C61225}" type="presOf" srcId="{84C58B69-2C65-44E0-AEF9-AAC3C28C580C}" destId="{F21DA46F-9176-46C2-8606-0459787EBF36}" srcOrd="1" destOrd="0" presId="urn:microsoft.com/office/officeart/2005/8/layout/orgChart1"/>
    <dgm:cxn modelId="{4356CEA4-C3FE-4AEF-9C7F-F8E458ABAAE1}" type="presOf" srcId="{809044A5-1B37-4FA2-9465-C6F903AED917}" destId="{377BDF44-513B-4A5F-AC2A-15E57B35F145}" srcOrd="1" destOrd="0" presId="urn:microsoft.com/office/officeart/2005/8/layout/orgChart1"/>
    <dgm:cxn modelId="{B79BFDC1-C12E-408C-8D74-C9EA7D381662}" type="presOf" srcId="{809044A5-1B37-4FA2-9465-C6F903AED917}" destId="{5F907C20-201E-4433-A68D-28B8EE613CE7}" srcOrd="0" destOrd="0" presId="urn:microsoft.com/office/officeart/2005/8/layout/orgChart1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AF3BE0D6-EE81-45AF-8B9D-D74743D7E4F1}" type="presOf" srcId="{5A42597E-7C44-431A-9CA8-9E2FBD09D033}" destId="{30120DA4-BBF0-4F1F-B7A9-5488743B14C3}" srcOrd="0" destOrd="0" presId="urn:microsoft.com/office/officeart/2005/8/layout/orgChart1"/>
    <dgm:cxn modelId="{951CC9D7-B287-4601-93B6-55D044CD7ADA}" type="presOf" srcId="{8CE0378C-5BFC-4F18-901E-A6F28F08A7B7}" destId="{4B15C515-2A82-449C-B2D0-D5D12BE85F52}" srcOrd="0" destOrd="0" presId="urn:microsoft.com/office/officeart/2005/8/layout/orgChart1"/>
    <dgm:cxn modelId="{CD28FADA-A86E-4890-8A13-AE064F7EBE80}" type="presOf" srcId="{F9E1A341-00B1-48B5-8E7E-21C4DA617546}" destId="{33B3AF54-0B0E-439D-8369-90582CC497EB}" srcOrd="1" destOrd="0" presId="urn:microsoft.com/office/officeart/2005/8/layout/orgChart1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95C6E1F6-2957-43B7-8192-4BE795941339}" type="presOf" srcId="{915143CF-6875-4889-A996-41FB2FBF8B05}" destId="{75558B12-3DD9-426D-96B6-E97E524322EC}" srcOrd="0" destOrd="0" presId="urn:microsoft.com/office/officeart/2005/8/layout/orgChart1"/>
    <dgm:cxn modelId="{A95A39F8-5687-4CB6-9B50-1E75DB3AB0AA}" type="presOf" srcId="{8CE0378C-5BFC-4F18-901E-A6F28F08A7B7}" destId="{A2A39198-F021-4D5B-A5B7-7ACA2A5A936A}" srcOrd="1" destOrd="0" presId="urn:microsoft.com/office/officeart/2005/8/layout/orgChart1"/>
    <dgm:cxn modelId="{4B22B5FD-0B97-42C1-8F00-602A9DE72104}" type="presOf" srcId="{84C58B69-2C65-44E0-AEF9-AAC3C28C580C}" destId="{E2FF1EBB-5738-4C02-B319-CEFB56BD75EF}" srcOrd="0" destOrd="0" presId="urn:microsoft.com/office/officeart/2005/8/layout/orgChart1"/>
    <dgm:cxn modelId="{A9D36158-2C12-4CE0-83DC-E690E7378913}" type="presParOf" srcId="{9338D69B-B454-4AB2-B571-0C577C7E583D}" destId="{96232817-BA82-4387-8EDF-328ABD924933}" srcOrd="0" destOrd="0" presId="urn:microsoft.com/office/officeart/2005/8/layout/orgChart1"/>
    <dgm:cxn modelId="{90778729-1D5B-4899-ABD8-95970DA10A49}" type="presParOf" srcId="{96232817-BA82-4387-8EDF-328ABD924933}" destId="{E8C4BD90-AE6E-43B5-9B99-722F501E6B41}" srcOrd="0" destOrd="0" presId="urn:microsoft.com/office/officeart/2005/8/layout/orgChart1"/>
    <dgm:cxn modelId="{0D129F72-E912-4B5F-9877-C1E4466E9FAB}" type="presParOf" srcId="{E8C4BD90-AE6E-43B5-9B99-722F501E6B41}" destId="{38C73456-D67D-4C4E-8D72-EC034ED8F7F8}" srcOrd="0" destOrd="0" presId="urn:microsoft.com/office/officeart/2005/8/layout/orgChart1"/>
    <dgm:cxn modelId="{E5E1A7D4-0068-4DC6-B022-66DC400BA7B5}" type="presParOf" srcId="{E8C4BD90-AE6E-43B5-9B99-722F501E6B41}" destId="{E44CA738-D2DA-44E9-BBF8-A8D200560342}" srcOrd="1" destOrd="0" presId="urn:microsoft.com/office/officeart/2005/8/layout/orgChart1"/>
    <dgm:cxn modelId="{5F19285A-EE14-4731-80B8-FA1F55705A43}" type="presParOf" srcId="{96232817-BA82-4387-8EDF-328ABD924933}" destId="{DB2BB38A-DC36-4E9C-B0A3-10EBC794467E}" srcOrd="1" destOrd="0" presId="urn:microsoft.com/office/officeart/2005/8/layout/orgChart1"/>
    <dgm:cxn modelId="{EA80B57D-D9B8-4E94-91F6-EF525E718D26}" type="presParOf" srcId="{DB2BB38A-DC36-4E9C-B0A3-10EBC794467E}" destId="{30120DA4-BBF0-4F1F-B7A9-5488743B14C3}" srcOrd="0" destOrd="0" presId="urn:microsoft.com/office/officeart/2005/8/layout/orgChart1"/>
    <dgm:cxn modelId="{37D17651-0BE9-451D-8D74-C16FB166F584}" type="presParOf" srcId="{DB2BB38A-DC36-4E9C-B0A3-10EBC794467E}" destId="{C23A813E-87C5-4521-A76C-1676E1CA6E7B}" srcOrd="1" destOrd="0" presId="urn:microsoft.com/office/officeart/2005/8/layout/orgChart1"/>
    <dgm:cxn modelId="{DD14F86C-011B-41C9-9045-38872EC05F9D}" type="presParOf" srcId="{C23A813E-87C5-4521-A76C-1676E1CA6E7B}" destId="{5F2C5D98-9956-4070-B99E-74D8AC173B33}" srcOrd="0" destOrd="0" presId="urn:microsoft.com/office/officeart/2005/8/layout/orgChart1"/>
    <dgm:cxn modelId="{B9959580-C80F-4F55-BD79-112E37ACCF20}" type="presParOf" srcId="{5F2C5D98-9956-4070-B99E-74D8AC173B33}" destId="{D4FD80F1-0115-4C60-A916-AD38FC20BF74}" srcOrd="0" destOrd="0" presId="urn:microsoft.com/office/officeart/2005/8/layout/orgChart1"/>
    <dgm:cxn modelId="{405BA596-42C0-47E5-BF36-75D405B5BCF8}" type="presParOf" srcId="{5F2C5D98-9956-4070-B99E-74D8AC173B33}" destId="{A5A34036-CBBB-4C31-800A-9B44D09CD057}" srcOrd="1" destOrd="0" presId="urn:microsoft.com/office/officeart/2005/8/layout/orgChart1"/>
    <dgm:cxn modelId="{56CDDA5E-487D-4862-8A71-33F48F7DEB77}" type="presParOf" srcId="{C23A813E-87C5-4521-A76C-1676E1CA6E7B}" destId="{E8D8F15E-D91F-4D78-A396-93A9E7112FD7}" srcOrd="1" destOrd="0" presId="urn:microsoft.com/office/officeart/2005/8/layout/orgChart1"/>
    <dgm:cxn modelId="{89511D44-3504-4A29-AFC7-C33C461677CC}" type="presParOf" srcId="{C23A813E-87C5-4521-A76C-1676E1CA6E7B}" destId="{B40EF80D-37EF-4200-97CC-58C29E405FC0}" srcOrd="2" destOrd="0" presId="urn:microsoft.com/office/officeart/2005/8/layout/orgChart1"/>
    <dgm:cxn modelId="{CEE664A4-8A4E-49D3-9B17-6161B82FDDE7}" type="presParOf" srcId="{DB2BB38A-DC36-4E9C-B0A3-10EBC794467E}" destId="{9540B85E-A4EF-41D4-8E0E-3151A162E97D}" srcOrd="2" destOrd="0" presId="urn:microsoft.com/office/officeart/2005/8/layout/orgChart1"/>
    <dgm:cxn modelId="{4ADA4FE5-D0D1-4384-9120-8E472E31AC59}" type="presParOf" srcId="{DB2BB38A-DC36-4E9C-B0A3-10EBC794467E}" destId="{67A842CE-E9BF-4E4C-8D98-644579DBE50F}" srcOrd="3" destOrd="0" presId="urn:microsoft.com/office/officeart/2005/8/layout/orgChart1"/>
    <dgm:cxn modelId="{B0A14951-19EB-4C27-8F2A-65A96EEA20CD}" type="presParOf" srcId="{67A842CE-E9BF-4E4C-8D98-644579DBE50F}" destId="{405272A9-7980-4A84-864F-7691585742A3}" srcOrd="0" destOrd="0" presId="urn:microsoft.com/office/officeart/2005/8/layout/orgChart1"/>
    <dgm:cxn modelId="{65071B12-B9BF-4449-AE83-55F86FB53F7D}" type="presParOf" srcId="{405272A9-7980-4A84-864F-7691585742A3}" destId="{23B824FD-3512-4FF6-8321-6B2E024B3CB3}" srcOrd="0" destOrd="0" presId="urn:microsoft.com/office/officeart/2005/8/layout/orgChart1"/>
    <dgm:cxn modelId="{1FA13846-B19A-4F08-BD93-6826A669BA47}" type="presParOf" srcId="{405272A9-7980-4A84-864F-7691585742A3}" destId="{9D04C6CD-FBB2-40C2-9765-F8A46CE34353}" srcOrd="1" destOrd="0" presId="urn:microsoft.com/office/officeart/2005/8/layout/orgChart1"/>
    <dgm:cxn modelId="{60A195E0-7872-422D-9880-F8E0538D6545}" type="presParOf" srcId="{67A842CE-E9BF-4E4C-8D98-644579DBE50F}" destId="{4A4ED6DF-2B07-4536-A315-A90161EFC4CC}" srcOrd="1" destOrd="0" presId="urn:microsoft.com/office/officeart/2005/8/layout/orgChart1"/>
    <dgm:cxn modelId="{206851DB-4419-4020-82E6-490161988954}" type="presParOf" srcId="{4A4ED6DF-2B07-4536-A315-A90161EFC4CC}" destId="{0B253D4B-281F-45B6-B5E4-C0071B81BAC8}" srcOrd="0" destOrd="0" presId="urn:microsoft.com/office/officeart/2005/8/layout/orgChart1"/>
    <dgm:cxn modelId="{72DC6D5A-037F-4125-B690-8FBF4A552B0B}" type="presParOf" srcId="{4A4ED6DF-2B07-4536-A315-A90161EFC4CC}" destId="{F342ECFC-FF85-4A11-915D-F52E2B3F8F88}" srcOrd="1" destOrd="0" presId="urn:microsoft.com/office/officeart/2005/8/layout/orgChart1"/>
    <dgm:cxn modelId="{02A54EC4-40BF-46DC-8927-87C0BBDA6F91}" type="presParOf" srcId="{F342ECFC-FF85-4A11-915D-F52E2B3F8F88}" destId="{4D8C46B8-E584-4523-AFCC-C039E7744B51}" srcOrd="0" destOrd="0" presId="urn:microsoft.com/office/officeart/2005/8/layout/orgChart1"/>
    <dgm:cxn modelId="{AB897845-AB2E-4EEB-BE3D-2D77E93DFB86}" type="presParOf" srcId="{4D8C46B8-E584-4523-AFCC-C039E7744B51}" destId="{E2FF1EBB-5738-4C02-B319-CEFB56BD75EF}" srcOrd="0" destOrd="0" presId="urn:microsoft.com/office/officeart/2005/8/layout/orgChart1"/>
    <dgm:cxn modelId="{4439C44E-66E7-403A-8AA2-3A3E5B21F291}" type="presParOf" srcId="{4D8C46B8-E584-4523-AFCC-C039E7744B51}" destId="{F21DA46F-9176-46C2-8606-0459787EBF36}" srcOrd="1" destOrd="0" presId="urn:microsoft.com/office/officeart/2005/8/layout/orgChart1"/>
    <dgm:cxn modelId="{7A855DC8-FE9C-4B28-9DE3-A12C116EF38D}" type="presParOf" srcId="{F342ECFC-FF85-4A11-915D-F52E2B3F8F88}" destId="{CED9D8F5-2002-4B51-A9BE-71B25E415299}" srcOrd="1" destOrd="0" presId="urn:microsoft.com/office/officeart/2005/8/layout/orgChart1"/>
    <dgm:cxn modelId="{A71DD685-AE9E-4EE5-8E02-89DDFC490A0D}" type="presParOf" srcId="{F342ECFC-FF85-4A11-915D-F52E2B3F8F88}" destId="{D355210C-CDB2-4FD0-84B6-3C9A26401FAF}" srcOrd="2" destOrd="0" presId="urn:microsoft.com/office/officeart/2005/8/layout/orgChart1"/>
    <dgm:cxn modelId="{DC3DB468-DA4E-487A-8B73-B31C24530389}" type="presParOf" srcId="{4A4ED6DF-2B07-4536-A315-A90161EFC4CC}" destId="{3F6785EA-6670-487A-8E8C-4D713762CAC8}" srcOrd="2" destOrd="0" presId="urn:microsoft.com/office/officeart/2005/8/layout/orgChart1"/>
    <dgm:cxn modelId="{8F37CCE5-E0EE-4850-8101-8CCD10CD3A75}" type="presParOf" srcId="{4A4ED6DF-2B07-4536-A315-A90161EFC4CC}" destId="{751017CF-68E2-4A7E-B4F6-8DB1091C1CB0}" srcOrd="3" destOrd="0" presId="urn:microsoft.com/office/officeart/2005/8/layout/orgChart1"/>
    <dgm:cxn modelId="{FFA3EBD6-2873-4E0D-ADDF-DB22BF0D0B3F}" type="presParOf" srcId="{751017CF-68E2-4A7E-B4F6-8DB1091C1CB0}" destId="{8DE0D729-79D8-487D-8B6F-8FC576A50DA4}" srcOrd="0" destOrd="0" presId="urn:microsoft.com/office/officeart/2005/8/layout/orgChart1"/>
    <dgm:cxn modelId="{FFFEE959-686A-4A09-9A88-A512A148AF05}" type="presParOf" srcId="{8DE0D729-79D8-487D-8B6F-8FC576A50DA4}" destId="{5F907C20-201E-4433-A68D-28B8EE613CE7}" srcOrd="0" destOrd="0" presId="urn:microsoft.com/office/officeart/2005/8/layout/orgChart1"/>
    <dgm:cxn modelId="{851AB2F4-1226-4F74-9A4B-E84A15DE2CE3}" type="presParOf" srcId="{8DE0D729-79D8-487D-8B6F-8FC576A50DA4}" destId="{377BDF44-513B-4A5F-AC2A-15E57B35F145}" srcOrd="1" destOrd="0" presId="urn:microsoft.com/office/officeart/2005/8/layout/orgChart1"/>
    <dgm:cxn modelId="{F35D195E-BFAA-40AA-A58F-D588D00C70F3}" type="presParOf" srcId="{751017CF-68E2-4A7E-B4F6-8DB1091C1CB0}" destId="{CB13EC3E-67DF-4F14-95DB-7BB6D11DDB4C}" srcOrd="1" destOrd="0" presId="urn:microsoft.com/office/officeart/2005/8/layout/orgChart1"/>
    <dgm:cxn modelId="{C958940E-BF27-4EDD-8FD8-85F83174B106}" type="presParOf" srcId="{CB13EC3E-67DF-4F14-95DB-7BB6D11DDB4C}" destId="{3212303E-2E2A-48D1-963F-A947659BDF3C}" srcOrd="0" destOrd="0" presId="urn:microsoft.com/office/officeart/2005/8/layout/orgChart1"/>
    <dgm:cxn modelId="{F0A7446C-F0C3-4F3A-941B-A880852147AD}" type="presParOf" srcId="{CB13EC3E-67DF-4F14-95DB-7BB6D11DDB4C}" destId="{3EECD5C7-51BD-4CA7-8F1D-56B1DD80D382}" srcOrd="1" destOrd="0" presId="urn:microsoft.com/office/officeart/2005/8/layout/orgChart1"/>
    <dgm:cxn modelId="{134BD349-2440-40CB-A75F-DA560AB5D1F7}" type="presParOf" srcId="{3EECD5C7-51BD-4CA7-8F1D-56B1DD80D382}" destId="{F37F0636-3BC6-4339-8D4C-8E2D146D219B}" srcOrd="0" destOrd="0" presId="urn:microsoft.com/office/officeart/2005/8/layout/orgChart1"/>
    <dgm:cxn modelId="{D219EB90-CD77-4C88-A051-70BE07CF80EA}" type="presParOf" srcId="{F37F0636-3BC6-4339-8D4C-8E2D146D219B}" destId="{4B15C515-2A82-449C-B2D0-D5D12BE85F52}" srcOrd="0" destOrd="0" presId="urn:microsoft.com/office/officeart/2005/8/layout/orgChart1"/>
    <dgm:cxn modelId="{0BB4B162-841C-4C55-9855-726A7353909E}" type="presParOf" srcId="{F37F0636-3BC6-4339-8D4C-8E2D146D219B}" destId="{A2A39198-F021-4D5B-A5B7-7ACA2A5A936A}" srcOrd="1" destOrd="0" presId="urn:microsoft.com/office/officeart/2005/8/layout/orgChart1"/>
    <dgm:cxn modelId="{D1E1E65B-9443-455E-885D-D7E9B899BDDF}" type="presParOf" srcId="{3EECD5C7-51BD-4CA7-8F1D-56B1DD80D382}" destId="{99407F54-1F74-465D-86D6-C31085C71AD1}" srcOrd="1" destOrd="0" presId="urn:microsoft.com/office/officeart/2005/8/layout/orgChart1"/>
    <dgm:cxn modelId="{CED0E451-0925-4F51-A71C-D5B4BF50829C}" type="presParOf" srcId="{3EECD5C7-51BD-4CA7-8F1D-56B1DD80D382}" destId="{3B4B583A-5F37-446A-8A00-6BE699130C30}" srcOrd="2" destOrd="0" presId="urn:microsoft.com/office/officeart/2005/8/layout/orgChart1"/>
    <dgm:cxn modelId="{39142CBB-FD4D-4110-93BA-CC2E88860A8E}" type="presParOf" srcId="{CB13EC3E-67DF-4F14-95DB-7BB6D11DDB4C}" destId="{3DD5C3D7-8417-47C3-9FCC-F2024B0F023C}" srcOrd="2" destOrd="0" presId="urn:microsoft.com/office/officeart/2005/8/layout/orgChart1"/>
    <dgm:cxn modelId="{BF38C690-BB32-4A40-B9C8-6218CBD4DB64}" type="presParOf" srcId="{CB13EC3E-67DF-4F14-95DB-7BB6D11DDB4C}" destId="{0CC2EDF8-23F1-453E-9FB3-95E48ECDF36E}" srcOrd="3" destOrd="0" presId="urn:microsoft.com/office/officeart/2005/8/layout/orgChart1"/>
    <dgm:cxn modelId="{5D6BAA33-4B48-4403-AA97-0B1217B8BE57}" type="presParOf" srcId="{0CC2EDF8-23F1-453E-9FB3-95E48ECDF36E}" destId="{4FDB9CBF-7605-47B0-BB81-FA8AA0EA216F}" srcOrd="0" destOrd="0" presId="urn:microsoft.com/office/officeart/2005/8/layout/orgChart1"/>
    <dgm:cxn modelId="{1C628ACC-2DDC-4451-9D85-3E1A24A7075D}" type="presParOf" srcId="{4FDB9CBF-7605-47B0-BB81-FA8AA0EA216F}" destId="{54990C5F-01B5-4079-99FE-B730F47A1E10}" srcOrd="0" destOrd="0" presId="urn:microsoft.com/office/officeart/2005/8/layout/orgChart1"/>
    <dgm:cxn modelId="{38B361C3-C799-4E62-8BFE-4FF52E19A543}" type="presParOf" srcId="{4FDB9CBF-7605-47B0-BB81-FA8AA0EA216F}" destId="{33B3AF54-0B0E-439D-8369-90582CC497EB}" srcOrd="1" destOrd="0" presId="urn:microsoft.com/office/officeart/2005/8/layout/orgChart1"/>
    <dgm:cxn modelId="{9C817FB4-5800-4F3B-90C4-6778BEA6EEC6}" type="presParOf" srcId="{0CC2EDF8-23F1-453E-9FB3-95E48ECDF36E}" destId="{9EA63A90-7BC8-4FA3-9ACC-BBFFDC3460E0}" srcOrd="1" destOrd="0" presId="urn:microsoft.com/office/officeart/2005/8/layout/orgChart1"/>
    <dgm:cxn modelId="{C408373D-F2DA-4C3E-9FAB-049571BD2E6C}" type="presParOf" srcId="{9EA63A90-7BC8-4FA3-9ACC-BBFFDC3460E0}" destId="{75558B12-3DD9-426D-96B6-E97E524322EC}" srcOrd="0" destOrd="0" presId="urn:microsoft.com/office/officeart/2005/8/layout/orgChart1"/>
    <dgm:cxn modelId="{9CAAD535-CEB4-4E38-ABDE-1FCA690CA450}" type="presParOf" srcId="{9EA63A90-7BC8-4FA3-9ACC-BBFFDC3460E0}" destId="{35C857AB-A01D-408A-98E1-8701D3BAF9B5}" srcOrd="1" destOrd="0" presId="urn:microsoft.com/office/officeart/2005/8/layout/orgChart1"/>
    <dgm:cxn modelId="{02F3C521-2AD9-43A4-BFA4-5AB69022B724}" type="presParOf" srcId="{35C857AB-A01D-408A-98E1-8701D3BAF9B5}" destId="{823FD1CA-F04B-488E-A2C6-DCB5B025DC72}" srcOrd="0" destOrd="0" presId="urn:microsoft.com/office/officeart/2005/8/layout/orgChart1"/>
    <dgm:cxn modelId="{A5C9BACF-7B3F-4D43-B6FC-43BCC25708CC}" type="presParOf" srcId="{823FD1CA-F04B-488E-A2C6-DCB5B025DC72}" destId="{AC870754-F1E5-401B-86E5-52B2054C0277}" srcOrd="0" destOrd="0" presId="urn:microsoft.com/office/officeart/2005/8/layout/orgChart1"/>
    <dgm:cxn modelId="{0A1CBA87-C12B-4A2B-AE5E-24BE7AEA2CE7}" type="presParOf" srcId="{823FD1CA-F04B-488E-A2C6-DCB5B025DC72}" destId="{C7FF83CA-C8C6-4B0E-B265-109385123C36}" srcOrd="1" destOrd="0" presId="urn:microsoft.com/office/officeart/2005/8/layout/orgChart1"/>
    <dgm:cxn modelId="{F20D9526-A0B2-4C05-AD55-0DB6F76266AC}" type="presParOf" srcId="{35C857AB-A01D-408A-98E1-8701D3BAF9B5}" destId="{C6098DC8-1751-4F4D-91B3-E392A6393CE6}" srcOrd="1" destOrd="0" presId="urn:microsoft.com/office/officeart/2005/8/layout/orgChart1"/>
    <dgm:cxn modelId="{CCE26386-D7E1-4A64-8444-7A6B1D54D5D2}" type="presParOf" srcId="{35C857AB-A01D-408A-98E1-8701D3BAF9B5}" destId="{64CBDE73-73B5-4C2E-AD08-CEFD2B7B589E}" srcOrd="2" destOrd="0" presId="urn:microsoft.com/office/officeart/2005/8/layout/orgChart1"/>
    <dgm:cxn modelId="{B8674EA1-6B8F-4915-A493-75166E275A56}" type="presParOf" srcId="{9EA63A90-7BC8-4FA3-9ACC-BBFFDC3460E0}" destId="{27A3536D-4E08-40A9-88FB-3846CAC90B4C}" srcOrd="2" destOrd="0" presId="urn:microsoft.com/office/officeart/2005/8/layout/orgChart1"/>
    <dgm:cxn modelId="{B80B8BF2-22FA-40C5-8AB9-3CC5D1CE93C4}" type="presParOf" srcId="{9EA63A90-7BC8-4FA3-9ACC-BBFFDC3460E0}" destId="{F200A130-36B5-4AAE-ABAD-B7752178202C}" srcOrd="3" destOrd="0" presId="urn:microsoft.com/office/officeart/2005/8/layout/orgChart1"/>
    <dgm:cxn modelId="{B8D6F927-78A5-4110-AB26-C4D00690555F}" type="presParOf" srcId="{F200A130-36B5-4AAE-ABAD-B7752178202C}" destId="{7BDD4ABD-A3F9-410E-BA5C-ED5C26A45A5E}" srcOrd="0" destOrd="0" presId="urn:microsoft.com/office/officeart/2005/8/layout/orgChart1"/>
    <dgm:cxn modelId="{23FA0074-1C5A-441A-AF63-2B35F9F5B095}" type="presParOf" srcId="{7BDD4ABD-A3F9-410E-BA5C-ED5C26A45A5E}" destId="{FA989B88-97A2-408D-A6E8-F03B512CDF30}" srcOrd="0" destOrd="0" presId="urn:microsoft.com/office/officeart/2005/8/layout/orgChart1"/>
    <dgm:cxn modelId="{B1ECB3E4-46F3-49B3-B799-6130A90E3856}" type="presParOf" srcId="{7BDD4ABD-A3F9-410E-BA5C-ED5C26A45A5E}" destId="{9F3F8E88-5225-4181-8A82-50FD57D97466}" srcOrd="1" destOrd="0" presId="urn:microsoft.com/office/officeart/2005/8/layout/orgChart1"/>
    <dgm:cxn modelId="{5B6AE356-517B-4E56-AAD7-8B96BC2EABA0}" type="presParOf" srcId="{F200A130-36B5-4AAE-ABAD-B7752178202C}" destId="{F0E86744-3E33-426C-811D-712372C56BF5}" srcOrd="1" destOrd="0" presId="urn:microsoft.com/office/officeart/2005/8/layout/orgChart1"/>
    <dgm:cxn modelId="{7C6EDE21-711F-4205-83D6-DF07E95D22CF}" type="presParOf" srcId="{F200A130-36B5-4AAE-ABAD-B7752178202C}" destId="{FFB24B82-4F7E-45EA-A925-B36AB76AA948}" srcOrd="2" destOrd="0" presId="urn:microsoft.com/office/officeart/2005/8/layout/orgChart1"/>
    <dgm:cxn modelId="{D8976257-7A26-4E20-B3DD-F52818A2E735}" type="presParOf" srcId="{0CC2EDF8-23F1-453E-9FB3-95E48ECDF36E}" destId="{BCC1D76F-115C-4D3B-8EEB-E4328ECA8B5B}" srcOrd="2" destOrd="0" presId="urn:microsoft.com/office/officeart/2005/8/layout/orgChart1"/>
    <dgm:cxn modelId="{CC2DFA77-CAD6-48F5-9ADD-AFB7C99C9A21}" type="presParOf" srcId="{751017CF-68E2-4A7E-B4F6-8DB1091C1CB0}" destId="{58152210-F89F-49E9-A7DA-3AC0FE287B85}" srcOrd="2" destOrd="0" presId="urn:microsoft.com/office/officeart/2005/8/layout/orgChart1"/>
    <dgm:cxn modelId="{A4206EE9-F6B0-49D8-8FF6-889E12B86722}" type="presParOf" srcId="{67A842CE-E9BF-4E4C-8D98-644579DBE50F}" destId="{CCCE7CA3-B370-4D07-B480-A6CAED339B69}" srcOrd="2" destOrd="0" presId="urn:microsoft.com/office/officeart/2005/8/layout/orgChart1"/>
    <dgm:cxn modelId="{EC83996E-6BF7-431E-BE0C-E6802027C69F}" type="presParOf" srcId="{96232817-BA82-4387-8EDF-328ABD924933}" destId="{D93DE94D-AADC-4710-8AF0-8F906581DBF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A3536D-4E08-40A9-88FB-3846CAC90B4C}">
      <dsp:nvSpPr>
        <dsp:cNvPr id="0" name=""/>
        <dsp:cNvSpPr/>
      </dsp:nvSpPr>
      <dsp:spPr>
        <a:xfrm>
          <a:off x="6438723" y="3424909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558B12-3DD9-426D-96B6-E97E524322EC}">
      <dsp:nvSpPr>
        <dsp:cNvPr id="0" name=""/>
        <dsp:cNvSpPr/>
      </dsp:nvSpPr>
      <dsp:spPr>
        <a:xfrm>
          <a:off x="5651441" y="3424909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5C3D7-8417-47C3-9FCC-F2024B0F023C}">
      <dsp:nvSpPr>
        <dsp:cNvPr id="0" name=""/>
        <dsp:cNvSpPr/>
      </dsp:nvSpPr>
      <dsp:spPr>
        <a:xfrm>
          <a:off x="5651441" y="2500992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2303E-2E2A-48D1-963F-A947659BDF3C}">
      <dsp:nvSpPr>
        <dsp:cNvPr id="0" name=""/>
        <dsp:cNvSpPr/>
      </dsp:nvSpPr>
      <dsp:spPr>
        <a:xfrm>
          <a:off x="4864158" y="2500992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6785EA-6670-487A-8E8C-4D713762CAC8}">
      <dsp:nvSpPr>
        <dsp:cNvPr id="0" name=""/>
        <dsp:cNvSpPr/>
      </dsp:nvSpPr>
      <dsp:spPr>
        <a:xfrm>
          <a:off x="4864158" y="1577074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53D4B-281F-45B6-B5E4-C0071B81BAC8}">
      <dsp:nvSpPr>
        <dsp:cNvPr id="0" name=""/>
        <dsp:cNvSpPr/>
      </dsp:nvSpPr>
      <dsp:spPr>
        <a:xfrm>
          <a:off x="4076876" y="1577074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0B85E-A4EF-41D4-8E0E-3151A162E97D}">
      <dsp:nvSpPr>
        <dsp:cNvPr id="0" name=""/>
        <dsp:cNvSpPr/>
      </dsp:nvSpPr>
      <dsp:spPr>
        <a:xfrm>
          <a:off x="4076876" y="653156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20DA4-BBF0-4F1F-B7A9-5488743B14C3}">
      <dsp:nvSpPr>
        <dsp:cNvPr id="0" name=""/>
        <dsp:cNvSpPr/>
      </dsp:nvSpPr>
      <dsp:spPr>
        <a:xfrm>
          <a:off x="3289594" y="653156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73456-D67D-4C4E-8D72-EC034ED8F7F8}">
      <dsp:nvSpPr>
        <dsp:cNvPr id="0" name=""/>
        <dsp:cNvSpPr/>
      </dsp:nvSpPr>
      <dsp:spPr>
        <a:xfrm>
          <a:off x="3426230" y="2510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Element</a:t>
          </a:r>
        </a:p>
      </dsp:txBody>
      <dsp:txXfrm>
        <a:off x="3426230" y="2510"/>
        <a:ext cx="1301292" cy="650646"/>
      </dsp:txXfrm>
    </dsp:sp>
    <dsp:sp modelId="{D4FD80F1-0115-4C60-A916-AD38FC20BF74}">
      <dsp:nvSpPr>
        <dsp:cNvPr id="0" name=""/>
        <dsp:cNvSpPr/>
      </dsp:nvSpPr>
      <dsp:spPr>
        <a:xfrm>
          <a:off x="2638948" y="926428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Function</a:t>
          </a:r>
          <a:endParaRPr lang="de-DE" sz="1900" kern="1200" dirty="0"/>
        </a:p>
      </dsp:txBody>
      <dsp:txXfrm>
        <a:off x="2638948" y="926428"/>
        <a:ext cx="1301292" cy="650646"/>
      </dsp:txXfrm>
    </dsp:sp>
    <dsp:sp modelId="{23B824FD-3512-4FF6-8321-6B2E024B3CB3}">
      <dsp:nvSpPr>
        <dsp:cNvPr id="0" name=""/>
        <dsp:cNvSpPr/>
      </dsp:nvSpPr>
      <dsp:spPr>
        <a:xfrm>
          <a:off x="4213512" y="926428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Components</a:t>
          </a:r>
        </a:p>
      </dsp:txBody>
      <dsp:txXfrm>
        <a:off x="4213512" y="926428"/>
        <a:ext cx="1301292" cy="650646"/>
      </dsp:txXfrm>
    </dsp:sp>
    <dsp:sp modelId="{E2FF1EBB-5738-4C02-B319-CEFB56BD75EF}">
      <dsp:nvSpPr>
        <dsp:cNvPr id="0" name=""/>
        <dsp:cNvSpPr/>
      </dsp:nvSpPr>
      <dsp:spPr>
        <a:xfrm>
          <a:off x="3426230" y="1850345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Component</a:t>
          </a:r>
          <a:r>
            <a:rPr lang="de-DE" sz="1900" kern="1200" dirty="0"/>
            <a:t> 1 (Tag)</a:t>
          </a:r>
        </a:p>
      </dsp:txBody>
      <dsp:txXfrm>
        <a:off x="3426230" y="1850345"/>
        <a:ext cx="1301292" cy="650646"/>
      </dsp:txXfrm>
    </dsp:sp>
    <dsp:sp modelId="{5F907C20-201E-4433-A68D-28B8EE613CE7}">
      <dsp:nvSpPr>
        <dsp:cNvPr id="0" name=""/>
        <dsp:cNvSpPr/>
      </dsp:nvSpPr>
      <dsp:spPr>
        <a:xfrm>
          <a:off x="5000794" y="1850345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Component</a:t>
          </a:r>
          <a:r>
            <a:rPr lang="de-DE" sz="1900" kern="1200" dirty="0"/>
            <a:t> 2</a:t>
          </a:r>
        </a:p>
      </dsp:txBody>
      <dsp:txXfrm>
        <a:off x="5000794" y="1850345"/>
        <a:ext cx="1301292" cy="650646"/>
      </dsp:txXfrm>
    </dsp:sp>
    <dsp:sp modelId="{4B15C515-2A82-449C-B2D0-D5D12BE85F52}">
      <dsp:nvSpPr>
        <dsp:cNvPr id="0" name=""/>
        <dsp:cNvSpPr/>
      </dsp:nvSpPr>
      <dsp:spPr>
        <a:xfrm>
          <a:off x="4213512" y="2774263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Function</a:t>
          </a:r>
          <a:endParaRPr lang="de-DE" sz="1900" kern="1200" dirty="0"/>
        </a:p>
      </dsp:txBody>
      <dsp:txXfrm>
        <a:off x="4213512" y="2774263"/>
        <a:ext cx="1301292" cy="650646"/>
      </dsp:txXfrm>
    </dsp:sp>
    <dsp:sp modelId="{54990C5F-01B5-4079-99FE-B730F47A1E10}">
      <dsp:nvSpPr>
        <dsp:cNvPr id="0" name=""/>
        <dsp:cNvSpPr/>
      </dsp:nvSpPr>
      <dsp:spPr>
        <a:xfrm>
          <a:off x="5788076" y="2774263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Components</a:t>
          </a:r>
        </a:p>
      </dsp:txBody>
      <dsp:txXfrm>
        <a:off x="5788076" y="2774263"/>
        <a:ext cx="1301292" cy="650646"/>
      </dsp:txXfrm>
    </dsp:sp>
    <dsp:sp modelId="{AC870754-F1E5-401B-86E5-52B2054C0277}">
      <dsp:nvSpPr>
        <dsp:cNvPr id="0" name=""/>
        <dsp:cNvSpPr/>
      </dsp:nvSpPr>
      <dsp:spPr>
        <a:xfrm>
          <a:off x="5000794" y="3698181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Tag 1</a:t>
          </a:r>
        </a:p>
      </dsp:txBody>
      <dsp:txXfrm>
        <a:off x="5000794" y="3698181"/>
        <a:ext cx="1301292" cy="650646"/>
      </dsp:txXfrm>
    </dsp:sp>
    <dsp:sp modelId="{FA989B88-97A2-408D-A6E8-F03B512CDF30}">
      <dsp:nvSpPr>
        <dsp:cNvPr id="0" name=""/>
        <dsp:cNvSpPr/>
      </dsp:nvSpPr>
      <dsp:spPr>
        <a:xfrm>
          <a:off x="6575358" y="3698181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Tag 2</a:t>
          </a:r>
        </a:p>
      </dsp:txBody>
      <dsp:txXfrm>
        <a:off x="6575358" y="3698181"/>
        <a:ext cx="1301292" cy="6506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02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354696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0</Words>
  <Application>Microsoft Office PowerPoint</Application>
  <PresentationFormat>Breitbild</PresentationFormat>
  <Paragraphs>132</Paragraphs>
  <Slides>7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Contents</vt:lpstr>
      <vt:lpstr>Intro</vt:lpstr>
      <vt:lpstr>Sensor Health Monitoring between each step. Function fuses Sensors</vt:lpstr>
      <vt:lpstr>Theory</vt:lpstr>
      <vt:lpstr>Problem Stat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26</cp:revision>
  <cp:lastPrinted>2023-04-11T11:20:00Z</cp:lastPrinted>
  <dcterms:created xsi:type="dcterms:W3CDTF">2023-02-27T05:53:01Z</dcterms:created>
  <dcterms:modified xsi:type="dcterms:W3CDTF">2023-05-02T00:24:36Z</dcterms:modified>
</cp:coreProperties>
</file>